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5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ED9ECD-B4C6-4470-A1C1-CC9511E2FAD4}" type="datetimeFigureOut">
              <a:rPr lang="zh-CN" altLang="en-US" smtClean="0"/>
              <a:t>2025/9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956910-BDEC-49EF-9D77-97BE2DFF74A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69065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51068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548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1391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6006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466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7283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130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699884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image" Target="../media/image4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oleObject" Target="../embeddings/oleObject5.bin"/><Relationship Id="rId2" Type="http://schemas.openxmlformats.org/officeDocument/2006/relationships/tags" Target="../tags/tag5.xml"/><Relationship Id="rId16" Type="http://schemas.openxmlformats.org/officeDocument/2006/relationships/notesSlide" Target="../notesSlides/notesSlide1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slideLayout" Target="../slideLayouts/slideLayout5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17" imgW="349" imgH="350" progId="TCLayout.ActiveDocument.1">
                  <p:embed/>
                </p:oleObj>
              </mc:Choice>
              <mc:Fallback>
                <p:oleObj name="think-cell 幻灯片" r:id="rId1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Title 66">
            <a:extLst>
              <a:ext uri="{FF2B5EF4-FFF2-40B4-BE49-F238E27FC236}">
                <a16:creationId xmlns:a16="http://schemas.microsoft.com/office/drawing/2014/main" id="{1260D908-A81C-6D19-662D-4409B64C8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42" name="Textfeld 7">
            <a:extLst>
              <a:ext uri="{FF2B5EF4-FFF2-40B4-BE49-F238E27FC236}">
                <a16:creationId xmlns:a16="http://schemas.microsoft.com/office/drawing/2014/main" id="{92A71C8B-48B3-D5A6-659A-450A24C3CF34}"/>
              </a:ext>
            </a:extLst>
          </p:cNvPr>
          <p:cNvSpPr txBox="1">
            <a:spLocks/>
          </p:cNvSpPr>
          <p:nvPr/>
        </p:nvSpPr>
        <p:spPr>
          <a:xfrm>
            <a:off x="3902092" y="1747069"/>
            <a:ext cx="246221" cy="3960000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t>{title_1}</a:t>
            </a:r>
          </a:p>
        </p:txBody>
      </p:sp>
      <p:sp>
        <p:nvSpPr>
          <p:cNvPr id="43" name="Textfeld 8">
            <a:extLst>
              <a:ext uri="{FF2B5EF4-FFF2-40B4-BE49-F238E27FC236}">
                <a16:creationId xmlns:a16="http://schemas.microsoft.com/office/drawing/2014/main" id="{9A2C3BDA-A013-F307-2752-0C2158614075}"/>
              </a:ext>
            </a:extLst>
          </p:cNvPr>
          <p:cNvSpPr txBox="1">
            <a:spLocks/>
          </p:cNvSpPr>
          <p:nvPr/>
        </p:nvSpPr>
        <p:spPr>
          <a:xfrm>
            <a:off x="4268949" y="5812950"/>
            <a:ext cx="3960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t>{title_2}</a:t>
            </a:r>
          </a:p>
        </p:txBody>
      </p:sp>
      <p:sp>
        <p:nvSpPr>
          <p:cNvPr id="45" name="Freihandform: Form 9">
            <a:extLst>
              <a:ext uri="{FF2B5EF4-FFF2-40B4-BE49-F238E27FC236}">
                <a16:creationId xmlns:a16="http://schemas.microsoft.com/office/drawing/2014/main" id="{2C6B75EE-ECAE-45F2-660A-C789844499B5}"/>
              </a:ext>
            </a:extLst>
          </p:cNvPr>
          <p:cNvSpPr>
            <a:spLocks/>
          </p:cNvSpPr>
          <p:nvPr/>
        </p:nvSpPr>
        <p:spPr>
          <a:xfrm>
            <a:off x="4268949" y="1747070"/>
            <a:ext cx="3960000" cy="3960000"/>
          </a:xfrm>
          <a:custGeom>
            <a:avLst/>
            <a:gdLst>
              <a:gd name="connsiteX0" fmla="*/ 0 w 5905500"/>
              <a:gd name="connsiteY0" fmla="*/ 0 h 3952875"/>
              <a:gd name="connsiteX1" fmla="*/ 0 w 5905500"/>
              <a:gd name="connsiteY1" fmla="*/ 3952875 h 3952875"/>
              <a:gd name="connsiteX2" fmla="*/ 5905500 w 5905500"/>
              <a:gd name="connsiteY2" fmla="*/ 3952875 h 395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05500" h="3952875">
                <a:moveTo>
                  <a:pt x="0" y="0"/>
                </a:moveTo>
                <a:lnTo>
                  <a:pt x="0" y="3952875"/>
                </a:lnTo>
                <a:lnTo>
                  <a:pt x="5905500" y="3952875"/>
                </a:lnTo>
              </a:path>
            </a:pathLst>
          </a:custGeom>
          <a:noFill/>
          <a:ln w="6350">
            <a:solidFill>
              <a:schemeClr val="accent5"/>
            </a:solidFill>
            <a:headEnd type="triangle"/>
            <a:tailEnd type="triangle"/>
          </a:ln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D6A26A"/>
              </a:solidFill>
              <a:effectLst/>
              <a:uLnTx/>
              <a:uFillTx/>
              <a:latin typeface="理想品牌字体 2022"/>
              <a:ea typeface="理想品牌字体 2022"/>
              <a:cs typeface="Poppins" pitchFamily="2" charset="77"/>
            </a:endParaRPr>
          </a:p>
        </p:txBody>
      </p:sp>
      <p:sp>
        <p:nvSpPr>
          <p:cNvPr id="46" name="Rechteck 10">
            <a:extLst>
              <a:ext uri="{FF2B5EF4-FFF2-40B4-BE49-F238E27FC236}">
                <a16:creationId xmlns:a16="http://schemas.microsoft.com/office/drawing/2014/main" id="{D07B4912-7B09-8971-A444-7318D21B0213}"/>
              </a:ext>
            </a:extLst>
          </p:cNvPr>
          <p:cNvSpPr>
            <a:spLocks/>
          </p:cNvSpPr>
          <p:nvPr/>
        </p:nvSpPr>
        <p:spPr>
          <a:xfrm>
            <a:off x="4379989" y="1848664"/>
            <a:ext cx="1870533" cy="1846830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Rechteck 11">
            <a:extLst>
              <a:ext uri="{FF2B5EF4-FFF2-40B4-BE49-F238E27FC236}">
                <a16:creationId xmlns:a16="http://schemas.microsoft.com/office/drawing/2014/main" id="{A8C1AE4C-D29E-510A-4818-ECEDBAC6E565}"/>
              </a:ext>
            </a:extLst>
          </p:cNvPr>
          <p:cNvSpPr>
            <a:spLocks/>
          </p:cNvSpPr>
          <p:nvPr/>
        </p:nvSpPr>
        <p:spPr>
          <a:xfrm>
            <a:off x="6286522" y="1848664"/>
            <a:ext cx="1870533" cy="1846830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Rechteck 12">
            <a:extLst>
              <a:ext uri="{FF2B5EF4-FFF2-40B4-BE49-F238E27FC236}">
                <a16:creationId xmlns:a16="http://schemas.microsoft.com/office/drawing/2014/main" id="{77FB1E53-1EC0-618B-5393-676E3A580D13}"/>
              </a:ext>
            </a:extLst>
          </p:cNvPr>
          <p:cNvSpPr>
            <a:spLocks/>
          </p:cNvSpPr>
          <p:nvPr/>
        </p:nvSpPr>
        <p:spPr>
          <a:xfrm>
            <a:off x="4379989" y="3731495"/>
            <a:ext cx="1870533" cy="1846830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9" name="Rechteck 13">
            <a:extLst>
              <a:ext uri="{FF2B5EF4-FFF2-40B4-BE49-F238E27FC236}">
                <a16:creationId xmlns:a16="http://schemas.microsoft.com/office/drawing/2014/main" id="{7F28805E-1BF9-C40C-81EE-61B92ACBB596}"/>
              </a:ext>
            </a:extLst>
          </p:cNvPr>
          <p:cNvSpPr>
            <a:spLocks/>
          </p:cNvSpPr>
          <p:nvPr/>
        </p:nvSpPr>
        <p:spPr>
          <a:xfrm>
            <a:off x="6286522" y="3731495"/>
            <a:ext cx="1870533" cy="1846830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0" name="TextBox 39">
            <a:extLst>
              <a:ext uri="{FF2B5EF4-FFF2-40B4-BE49-F238E27FC236}">
                <a16:creationId xmlns:a16="http://schemas.microsoft.com/office/drawing/2014/main" id="{6F41690B-F149-85F5-D01E-579D80D9CC4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379989" y="1566442"/>
            <a:ext cx="1870533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6EA6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+mn-cs"/>
              </a:rPr>
              <a:t>{aspect_1}</a:t>
            </a:r>
          </a:p>
        </p:txBody>
      </p:sp>
      <p:sp>
        <p:nvSpPr>
          <p:cNvPr id="51" name="TextBox 40">
            <a:extLst>
              <a:ext uri="{FF2B5EF4-FFF2-40B4-BE49-F238E27FC236}">
                <a16:creationId xmlns:a16="http://schemas.microsoft.com/office/drawing/2014/main" id="{3F8D35D0-7325-41FC-A004-A6C910AB0DF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286522" y="1566442"/>
            <a:ext cx="1870533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6EA6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+mn-cs"/>
              </a:rPr>
              <a:t>{aspect_2}</a:t>
            </a:r>
          </a:p>
        </p:txBody>
      </p:sp>
      <p:sp>
        <p:nvSpPr>
          <p:cNvPr id="52" name="TextBox 41">
            <a:extLst>
              <a:ext uri="{FF2B5EF4-FFF2-40B4-BE49-F238E27FC236}">
                <a16:creationId xmlns:a16="http://schemas.microsoft.com/office/drawing/2014/main" id="{FB9B12B2-60C1-207A-64C5-9BE483010CA4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8228949" y="1848664"/>
            <a:ext cx="246221" cy="1846830"/>
          </a:xfrm>
          <a:prstGeom prst="rect">
            <a:avLst/>
          </a:prstGeom>
          <a:noFill/>
        </p:spPr>
        <p:txBody>
          <a:bodyPr vert="vert270" wrap="square" lIns="0" tIns="0" rIns="0" bIns="0" rtlCol="0" anchor="ctr" anchorCtr="0">
            <a:noAutofit/>
          </a:bodyPr>
          <a:lstStyle/>
          <a:p>
            <a:pPr lvl="0" algn="ctr">
              <a:spcBef>
                <a:spcPts val="400"/>
              </a:spcBef>
              <a:buClr>
                <a:srgbClr val="6EA600"/>
              </a:buClr>
              <a:buSzPct val="100000"/>
              <a:defRPr/>
            </a:pPr>
            <a:r>
              <a:rPr lang="en-US" altLang="zh-CN" sz="1600" dirty="0">
                <a:solidFill>
                  <a:srgbClr val="575757"/>
                </a:solidFill>
                <a:ea typeface="Verdana" pitchFamily="34" charset="0"/>
              </a:rPr>
              <a:t>{aspect_1}</a:t>
            </a:r>
          </a:p>
        </p:txBody>
      </p:sp>
      <p:sp>
        <p:nvSpPr>
          <p:cNvPr id="53" name="TextBox 42">
            <a:extLst>
              <a:ext uri="{FF2B5EF4-FFF2-40B4-BE49-F238E27FC236}">
                <a16:creationId xmlns:a16="http://schemas.microsoft.com/office/drawing/2014/main" id="{B8A554DD-8B18-2306-DAC0-47458A6FD90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8228949" y="3731495"/>
            <a:ext cx="246221" cy="1846830"/>
          </a:xfrm>
          <a:prstGeom prst="rect">
            <a:avLst/>
          </a:prstGeom>
          <a:noFill/>
        </p:spPr>
        <p:txBody>
          <a:bodyPr vert="vert270" wrap="square" lIns="0" tIns="0" rIns="0" bIns="0" rtlCol="0" anchor="ctr" anchorCtr="0">
            <a:noAutofit/>
          </a:bodyPr>
          <a:lstStyle/>
          <a:p>
            <a:pPr lvl="0" algn="ctr">
              <a:spcBef>
                <a:spcPts val="400"/>
              </a:spcBef>
              <a:buClr>
                <a:srgbClr val="6EA600"/>
              </a:buClr>
              <a:buSzPct val="100000"/>
              <a:defRPr/>
            </a:pPr>
            <a:r>
              <a:rPr lang="en-US" altLang="zh-CN" sz="1600" dirty="0">
                <a:solidFill>
                  <a:srgbClr val="575757"/>
                </a:solidFill>
                <a:ea typeface="Verdana" pitchFamily="34" charset="0"/>
              </a:rPr>
              <a:t>{aspect_2}</a:t>
            </a:r>
          </a:p>
        </p:txBody>
      </p:sp>
      <p:sp>
        <p:nvSpPr>
          <p:cNvPr id="54" name="Subtitle 2">
            <a:extLst>
              <a:ext uri="{FF2B5EF4-FFF2-40B4-BE49-F238E27FC236}">
                <a16:creationId xmlns:a16="http://schemas.microsoft.com/office/drawing/2014/main" id="{04567DC0-0261-5D23-01FC-730976B90895}"/>
              </a:ext>
            </a:extLst>
          </p:cNvPr>
          <p:cNvSpPr txBox="1">
            <a:spLocks/>
          </p:cNvSpPr>
          <p:nvPr/>
        </p:nvSpPr>
        <p:spPr>
          <a:xfrm>
            <a:off x="8735344" y="1848668"/>
            <a:ext cx="2562120" cy="1846830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Lato Light" panose="020F0502020204030203" pitchFamily="34" charset="0"/>
                <a:cs typeface="Mukta ExtraLight" panose="020B0000000000000000" pitchFamily="34" charset="77"/>
              </a:rPr>
              <a:t>{content_3}</a:t>
            </a:r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FC150605-62B7-7576-E8ED-CF80794A7D40}"/>
              </a:ext>
            </a:extLst>
          </p:cNvPr>
          <p:cNvSpPr txBox="1">
            <a:spLocks/>
          </p:cNvSpPr>
          <p:nvPr/>
        </p:nvSpPr>
        <p:spPr>
          <a:xfrm>
            <a:off x="1137921" y="1848668"/>
            <a:ext cx="2562120" cy="1846830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8763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Lato Light" panose="020F0502020204030203" pitchFamily="34" charset="0"/>
                <a:cs typeface="Mukta ExtraLight" panose="020B0000000000000000" pitchFamily="34" charset="77"/>
              </a:rPr>
              <a:t>{content_1}</a:t>
            </a:r>
          </a:p>
        </p:txBody>
      </p:sp>
      <p:sp>
        <p:nvSpPr>
          <p:cNvPr id="56" name="Subtitle 2">
            <a:extLst>
              <a:ext uri="{FF2B5EF4-FFF2-40B4-BE49-F238E27FC236}">
                <a16:creationId xmlns:a16="http://schemas.microsoft.com/office/drawing/2014/main" id="{6580946D-ECDF-7487-2C61-32457F47C8AF}"/>
              </a:ext>
            </a:extLst>
          </p:cNvPr>
          <p:cNvSpPr txBox="1">
            <a:spLocks/>
          </p:cNvSpPr>
          <p:nvPr/>
        </p:nvSpPr>
        <p:spPr>
          <a:xfrm>
            <a:off x="8735344" y="3731495"/>
            <a:ext cx="2562120" cy="1846830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Lato Light" panose="020F0502020204030203" pitchFamily="34" charset="0"/>
                <a:cs typeface="Mukta ExtraLight" panose="020B0000000000000000" pitchFamily="34" charset="77"/>
              </a:rPr>
              <a:t>{content_4}</a:t>
            </a:r>
          </a:p>
        </p:txBody>
      </p:sp>
      <p:sp>
        <p:nvSpPr>
          <p:cNvPr id="57" name="Subtitle 2">
            <a:extLst>
              <a:ext uri="{FF2B5EF4-FFF2-40B4-BE49-F238E27FC236}">
                <a16:creationId xmlns:a16="http://schemas.microsoft.com/office/drawing/2014/main" id="{BEE6B54A-60AF-5491-E33E-C87B5DC80449}"/>
              </a:ext>
            </a:extLst>
          </p:cNvPr>
          <p:cNvSpPr txBox="1">
            <a:spLocks/>
          </p:cNvSpPr>
          <p:nvPr/>
        </p:nvSpPr>
        <p:spPr>
          <a:xfrm>
            <a:off x="1137921" y="3731495"/>
            <a:ext cx="2562120" cy="1846830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8763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Lato Light" panose="020F0502020204030203" pitchFamily="34" charset="0"/>
                <a:cs typeface="Mukta ExtraLight" panose="020B0000000000000000" pitchFamily="34" charset="77"/>
              </a:rPr>
              <a:t>{content_2}</a:t>
            </a:r>
          </a:p>
        </p:txBody>
      </p:sp>
      <p:sp>
        <p:nvSpPr>
          <p:cNvPr id="58" name="Freeform 431">
            <a:extLst>
              <a:ext uri="{FF2B5EF4-FFF2-40B4-BE49-F238E27FC236}">
                <a16:creationId xmlns:a16="http://schemas.microsoft.com/office/drawing/2014/main" id="{BECE0B65-8AA8-75F0-7A2C-830851924E94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7596055" y="2084167"/>
            <a:ext cx="365429" cy="365431"/>
          </a:xfrm>
          <a:custGeom>
            <a:avLst/>
            <a:gdLst>
              <a:gd name="T0" fmla="*/ 585 w 586"/>
              <a:gd name="T1" fmla="*/ 293 h 586"/>
              <a:gd name="T2" fmla="*/ 585 w 586"/>
              <a:gd name="T3" fmla="*/ 293 h 586"/>
              <a:gd name="T4" fmla="*/ 292 w 586"/>
              <a:gd name="T5" fmla="*/ 585 h 586"/>
              <a:gd name="T6" fmla="*/ 292 w 586"/>
              <a:gd name="T7" fmla="*/ 585 h 586"/>
              <a:gd name="T8" fmla="*/ 0 w 586"/>
              <a:gd name="T9" fmla="*/ 293 h 586"/>
              <a:gd name="T10" fmla="*/ 0 w 586"/>
              <a:gd name="T11" fmla="*/ 293 h 586"/>
              <a:gd name="T12" fmla="*/ 292 w 586"/>
              <a:gd name="T13" fmla="*/ 0 h 586"/>
              <a:gd name="T14" fmla="*/ 292 w 586"/>
              <a:gd name="T15" fmla="*/ 0 h 586"/>
              <a:gd name="T16" fmla="*/ 585 w 586"/>
              <a:gd name="T17" fmla="*/ 293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86" h="586">
                <a:moveTo>
                  <a:pt x="585" y="293"/>
                </a:moveTo>
                <a:lnTo>
                  <a:pt x="585" y="293"/>
                </a:lnTo>
                <a:cubicBezTo>
                  <a:pt x="585" y="454"/>
                  <a:pt x="454" y="585"/>
                  <a:pt x="292" y="585"/>
                </a:cubicBezTo>
                <a:lnTo>
                  <a:pt x="292" y="585"/>
                </a:lnTo>
                <a:cubicBezTo>
                  <a:pt x="131" y="585"/>
                  <a:pt x="0" y="454"/>
                  <a:pt x="0" y="293"/>
                </a:cubicBezTo>
                <a:lnTo>
                  <a:pt x="0" y="293"/>
                </a:lnTo>
                <a:cubicBezTo>
                  <a:pt x="0" y="131"/>
                  <a:pt x="131" y="0"/>
                  <a:pt x="292" y="0"/>
                </a:cubicBezTo>
                <a:lnTo>
                  <a:pt x="292" y="0"/>
                </a:lnTo>
                <a:cubicBezTo>
                  <a:pt x="454" y="0"/>
                  <a:pt x="585" y="131"/>
                  <a:pt x="585" y="29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9" name="Freeform 432">
            <a:extLst>
              <a:ext uri="{FF2B5EF4-FFF2-40B4-BE49-F238E27FC236}">
                <a16:creationId xmlns:a16="http://schemas.microsoft.com/office/drawing/2014/main" id="{0AEDDD80-BF46-B5AF-C5A5-FA975AA58CD4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6646474" y="4340320"/>
            <a:ext cx="154436" cy="154436"/>
          </a:xfrm>
          <a:custGeom>
            <a:avLst/>
            <a:gdLst>
              <a:gd name="T0" fmla="*/ 585 w 586"/>
              <a:gd name="T1" fmla="*/ 292 h 586"/>
              <a:gd name="T2" fmla="*/ 585 w 586"/>
              <a:gd name="T3" fmla="*/ 292 h 586"/>
              <a:gd name="T4" fmla="*/ 293 w 586"/>
              <a:gd name="T5" fmla="*/ 585 h 586"/>
              <a:gd name="T6" fmla="*/ 293 w 586"/>
              <a:gd name="T7" fmla="*/ 585 h 586"/>
              <a:gd name="T8" fmla="*/ 0 w 586"/>
              <a:gd name="T9" fmla="*/ 292 h 586"/>
              <a:gd name="T10" fmla="*/ 0 w 586"/>
              <a:gd name="T11" fmla="*/ 292 h 586"/>
              <a:gd name="T12" fmla="*/ 293 w 586"/>
              <a:gd name="T13" fmla="*/ 0 h 586"/>
              <a:gd name="T14" fmla="*/ 293 w 586"/>
              <a:gd name="T15" fmla="*/ 0 h 586"/>
              <a:gd name="T16" fmla="*/ 585 w 586"/>
              <a:gd name="T17" fmla="*/ 292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86" h="586">
                <a:moveTo>
                  <a:pt x="585" y="292"/>
                </a:moveTo>
                <a:lnTo>
                  <a:pt x="585" y="292"/>
                </a:lnTo>
                <a:cubicBezTo>
                  <a:pt x="585" y="454"/>
                  <a:pt x="454" y="585"/>
                  <a:pt x="293" y="585"/>
                </a:cubicBezTo>
                <a:lnTo>
                  <a:pt x="293" y="585"/>
                </a:lnTo>
                <a:cubicBezTo>
                  <a:pt x="131" y="585"/>
                  <a:pt x="0" y="454"/>
                  <a:pt x="0" y="292"/>
                </a:cubicBezTo>
                <a:lnTo>
                  <a:pt x="0" y="292"/>
                </a:lnTo>
                <a:cubicBezTo>
                  <a:pt x="0" y="131"/>
                  <a:pt x="131" y="0"/>
                  <a:pt x="293" y="0"/>
                </a:cubicBezTo>
                <a:lnTo>
                  <a:pt x="293" y="0"/>
                </a:lnTo>
                <a:cubicBezTo>
                  <a:pt x="454" y="0"/>
                  <a:pt x="585" y="131"/>
                  <a:pt x="585" y="292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" name="Freeform 433">
            <a:extLst>
              <a:ext uri="{FF2B5EF4-FFF2-40B4-BE49-F238E27FC236}">
                <a16:creationId xmlns:a16="http://schemas.microsoft.com/office/drawing/2014/main" id="{3355067E-B5B4-FD65-3234-D340D0014DF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5123300" y="3379060"/>
            <a:ext cx="154436" cy="154436"/>
          </a:xfrm>
          <a:custGeom>
            <a:avLst/>
            <a:gdLst>
              <a:gd name="T0" fmla="*/ 585 w 586"/>
              <a:gd name="T1" fmla="*/ 292 h 586"/>
              <a:gd name="T2" fmla="*/ 585 w 586"/>
              <a:gd name="T3" fmla="*/ 292 h 586"/>
              <a:gd name="T4" fmla="*/ 293 w 586"/>
              <a:gd name="T5" fmla="*/ 585 h 586"/>
              <a:gd name="T6" fmla="*/ 293 w 586"/>
              <a:gd name="T7" fmla="*/ 585 h 586"/>
              <a:gd name="T8" fmla="*/ 0 w 586"/>
              <a:gd name="T9" fmla="*/ 292 h 586"/>
              <a:gd name="T10" fmla="*/ 0 w 586"/>
              <a:gd name="T11" fmla="*/ 292 h 586"/>
              <a:gd name="T12" fmla="*/ 293 w 586"/>
              <a:gd name="T13" fmla="*/ 0 h 586"/>
              <a:gd name="T14" fmla="*/ 293 w 586"/>
              <a:gd name="T15" fmla="*/ 0 h 586"/>
              <a:gd name="T16" fmla="*/ 585 w 586"/>
              <a:gd name="T17" fmla="*/ 292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86" h="586">
                <a:moveTo>
                  <a:pt x="585" y="292"/>
                </a:moveTo>
                <a:lnTo>
                  <a:pt x="585" y="292"/>
                </a:lnTo>
                <a:cubicBezTo>
                  <a:pt x="585" y="454"/>
                  <a:pt x="454" y="585"/>
                  <a:pt x="293" y="585"/>
                </a:cubicBezTo>
                <a:lnTo>
                  <a:pt x="293" y="585"/>
                </a:lnTo>
                <a:cubicBezTo>
                  <a:pt x="131" y="585"/>
                  <a:pt x="0" y="454"/>
                  <a:pt x="0" y="292"/>
                </a:cubicBezTo>
                <a:lnTo>
                  <a:pt x="0" y="292"/>
                </a:lnTo>
                <a:cubicBezTo>
                  <a:pt x="0" y="131"/>
                  <a:pt x="131" y="0"/>
                  <a:pt x="293" y="0"/>
                </a:cubicBezTo>
                <a:lnTo>
                  <a:pt x="293" y="0"/>
                </a:lnTo>
                <a:cubicBezTo>
                  <a:pt x="454" y="0"/>
                  <a:pt x="585" y="131"/>
                  <a:pt x="585" y="292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1" name="Freeform 434">
            <a:extLst>
              <a:ext uri="{FF2B5EF4-FFF2-40B4-BE49-F238E27FC236}">
                <a16:creationId xmlns:a16="http://schemas.microsoft.com/office/drawing/2014/main" id="{557B21EB-9507-8AFD-62A9-C5BC8CFC25C7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6898912" y="5230957"/>
            <a:ext cx="154436" cy="154436"/>
          </a:xfrm>
          <a:custGeom>
            <a:avLst/>
            <a:gdLst>
              <a:gd name="T0" fmla="*/ 585 w 586"/>
              <a:gd name="T1" fmla="*/ 292 h 585"/>
              <a:gd name="T2" fmla="*/ 585 w 586"/>
              <a:gd name="T3" fmla="*/ 292 h 585"/>
              <a:gd name="T4" fmla="*/ 292 w 586"/>
              <a:gd name="T5" fmla="*/ 584 h 585"/>
              <a:gd name="T6" fmla="*/ 292 w 586"/>
              <a:gd name="T7" fmla="*/ 584 h 585"/>
              <a:gd name="T8" fmla="*/ 0 w 586"/>
              <a:gd name="T9" fmla="*/ 292 h 585"/>
              <a:gd name="T10" fmla="*/ 0 w 586"/>
              <a:gd name="T11" fmla="*/ 292 h 585"/>
              <a:gd name="T12" fmla="*/ 292 w 586"/>
              <a:gd name="T13" fmla="*/ 0 h 585"/>
              <a:gd name="T14" fmla="*/ 292 w 586"/>
              <a:gd name="T15" fmla="*/ 0 h 585"/>
              <a:gd name="T16" fmla="*/ 585 w 586"/>
              <a:gd name="T17" fmla="*/ 292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86" h="585">
                <a:moveTo>
                  <a:pt x="585" y="292"/>
                </a:moveTo>
                <a:lnTo>
                  <a:pt x="585" y="292"/>
                </a:lnTo>
                <a:cubicBezTo>
                  <a:pt x="585" y="454"/>
                  <a:pt x="454" y="584"/>
                  <a:pt x="292" y="584"/>
                </a:cubicBezTo>
                <a:lnTo>
                  <a:pt x="292" y="584"/>
                </a:lnTo>
                <a:cubicBezTo>
                  <a:pt x="131" y="584"/>
                  <a:pt x="0" y="454"/>
                  <a:pt x="0" y="292"/>
                </a:cubicBezTo>
                <a:lnTo>
                  <a:pt x="0" y="292"/>
                </a:lnTo>
                <a:cubicBezTo>
                  <a:pt x="0" y="131"/>
                  <a:pt x="131" y="0"/>
                  <a:pt x="292" y="0"/>
                </a:cubicBezTo>
                <a:lnTo>
                  <a:pt x="292" y="0"/>
                </a:lnTo>
                <a:cubicBezTo>
                  <a:pt x="454" y="0"/>
                  <a:pt x="585" y="131"/>
                  <a:pt x="585" y="292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2" name="Freeform 435">
            <a:extLst>
              <a:ext uri="{FF2B5EF4-FFF2-40B4-BE49-F238E27FC236}">
                <a16:creationId xmlns:a16="http://schemas.microsoft.com/office/drawing/2014/main" id="{FAC14929-CF36-4B31-6142-1EEAE4F7124B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6618706" y="2493490"/>
            <a:ext cx="154436" cy="154436"/>
          </a:xfrm>
          <a:custGeom>
            <a:avLst/>
            <a:gdLst>
              <a:gd name="T0" fmla="*/ 584 w 585"/>
              <a:gd name="T1" fmla="*/ 292 h 586"/>
              <a:gd name="T2" fmla="*/ 584 w 585"/>
              <a:gd name="T3" fmla="*/ 292 h 586"/>
              <a:gd name="T4" fmla="*/ 292 w 585"/>
              <a:gd name="T5" fmla="*/ 585 h 586"/>
              <a:gd name="T6" fmla="*/ 292 w 585"/>
              <a:gd name="T7" fmla="*/ 585 h 586"/>
              <a:gd name="T8" fmla="*/ 0 w 585"/>
              <a:gd name="T9" fmla="*/ 292 h 586"/>
              <a:gd name="T10" fmla="*/ 0 w 585"/>
              <a:gd name="T11" fmla="*/ 292 h 586"/>
              <a:gd name="T12" fmla="*/ 292 w 585"/>
              <a:gd name="T13" fmla="*/ 0 h 586"/>
              <a:gd name="T14" fmla="*/ 292 w 585"/>
              <a:gd name="T15" fmla="*/ 0 h 586"/>
              <a:gd name="T16" fmla="*/ 584 w 585"/>
              <a:gd name="T17" fmla="*/ 292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85" h="586">
                <a:moveTo>
                  <a:pt x="584" y="292"/>
                </a:moveTo>
                <a:lnTo>
                  <a:pt x="584" y="292"/>
                </a:lnTo>
                <a:cubicBezTo>
                  <a:pt x="584" y="454"/>
                  <a:pt x="454" y="585"/>
                  <a:pt x="292" y="585"/>
                </a:cubicBezTo>
                <a:lnTo>
                  <a:pt x="292" y="585"/>
                </a:lnTo>
                <a:cubicBezTo>
                  <a:pt x="131" y="585"/>
                  <a:pt x="0" y="454"/>
                  <a:pt x="0" y="292"/>
                </a:cubicBezTo>
                <a:lnTo>
                  <a:pt x="0" y="292"/>
                </a:lnTo>
                <a:cubicBezTo>
                  <a:pt x="0" y="131"/>
                  <a:pt x="131" y="0"/>
                  <a:pt x="292" y="0"/>
                </a:cubicBezTo>
                <a:lnTo>
                  <a:pt x="292" y="0"/>
                </a:lnTo>
                <a:cubicBezTo>
                  <a:pt x="454" y="0"/>
                  <a:pt x="584" y="131"/>
                  <a:pt x="584" y="292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3" name="Freeform 436">
            <a:extLst>
              <a:ext uri="{FF2B5EF4-FFF2-40B4-BE49-F238E27FC236}">
                <a16:creationId xmlns:a16="http://schemas.microsoft.com/office/drawing/2014/main" id="{423200AD-EC40-E155-35BD-CFC6D1D75D71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898561" y="3168280"/>
            <a:ext cx="154436" cy="154434"/>
          </a:xfrm>
          <a:custGeom>
            <a:avLst/>
            <a:gdLst>
              <a:gd name="T0" fmla="*/ 585 w 586"/>
              <a:gd name="T1" fmla="*/ 292 h 586"/>
              <a:gd name="T2" fmla="*/ 585 w 586"/>
              <a:gd name="T3" fmla="*/ 292 h 586"/>
              <a:gd name="T4" fmla="*/ 292 w 586"/>
              <a:gd name="T5" fmla="*/ 585 h 586"/>
              <a:gd name="T6" fmla="*/ 292 w 586"/>
              <a:gd name="T7" fmla="*/ 585 h 586"/>
              <a:gd name="T8" fmla="*/ 0 w 586"/>
              <a:gd name="T9" fmla="*/ 292 h 586"/>
              <a:gd name="T10" fmla="*/ 0 w 586"/>
              <a:gd name="T11" fmla="*/ 292 h 586"/>
              <a:gd name="T12" fmla="*/ 292 w 586"/>
              <a:gd name="T13" fmla="*/ 0 h 586"/>
              <a:gd name="T14" fmla="*/ 292 w 586"/>
              <a:gd name="T15" fmla="*/ 0 h 586"/>
              <a:gd name="T16" fmla="*/ 585 w 586"/>
              <a:gd name="T17" fmla="*/ 292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86" h="586">
                <a:moveTo>
                  <a:pt x="585" y="292"/>
                </a:moveTo>
                <a:lnTo>
                  <a:pt x="585" y="292"/>
                </a:lnTo>
                <a:cubicBezTo>
                  <a:pt x="585" y="454"/>
                  <a:pt x="454" y="585"/>
                  <a:pt x="292" y="585"/>
                </a:cubicBezTo>
                <a:lnTo>
                  <a:pt x="292" y="585"/>
                </a:lnTo>
                <a:cubicBezTo>
                  <a:pt x="131" y="585"/>
                  <a:pt x="0" y="454"/>
                  <a:pt x="0" y="292"/>
                </a:cubicBezTo>
                <a:lnTo>
                  <a:pt x="0" y="292"/>
                </a:lnTo>
                <a:cubicBezTo>
                  <a:pt x="0" y="131"/>
                  <a:pt x="131" y="0"/>
                  <a:pt x="292" y="0"/>
                </a:cubicBezTo>
                <a:lnTo>
                  <a:pt x="292" y="0"/>
                </a:lnTo>
                <a:cubicBezTo>
                  <a:pt x="454" y="0"/>
                  <a:pt x="585" y="131"/>
                  <a:pt x="585" y="292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4" name="Freeform 432">
            <a:extLst>
              <a:ext uri="{FF2B5EF4-FFF2-40B4-BE49-F238E27FC236}">
                <a16:creationId xmlns:a16="http://schemas.microsoft.com/office/drawing/2014/main" id="{BAF24533-927D-16A7-81F9-1847433B53FE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979508" y="4986674"/>
            <a:ext cx="154436" cy="154436"/>
          </a:xfrm>
          <a:custGeom>
            <a:avLst/>
            <a:gdLst>
              <a:gd name="T0" fmla="*/ 585 w 586"/>
              <a:gd name="T1" fmla="*/ 292 h 586"/>
              <a:gd name="T2" fmla="*/ 585 w 586"/>
              <a:gd name="T3" fmla="*/ 292 h 586"/>
              <a:gd name="T4" fmla="*/ 293 w 586"/>
              <a:gd name="T5" fmla="*/ 585 h 586"/>
              <a:gd name="T6" fmla="*/ 293 w 586"/>
              <a:gd name="T7" fmla="*/ 585 h 586"/>
              <a:gd name="T8" fmla="*/ 0 w 586"/>
              <a:gd name="T9" fmla="*/ 292 h 586"/>
              <a:gd name="T10" fmla="*/ 0 w 586"/>
              <a:gd name="T11" fmla="*/ 292 h 586"/>
              <a:gd name="T12" fmla="*/ 293 w 586"/>
              <a:gd name="T13" fmla="*/ 0 h 586"/>
              <a:gd name="T14" fmla="*/ 293 w 586"/>
              <a:gd name="T15" fmla="*/ 0 h 586"/>
              <a:gd name="T16" fmla="*/ 585 w 586"/>
              <a:gd name="T17" fmla="*/ 292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86" h="586">
                <a:moveTo>
                  <a:pt x="585" y="292"/>
                </a:moveTo>
                <a:lnTo>
                  <a:pt x="585" y="292"/>
                </a:lnTo>
                <a:cubicBezTo>
                  <a:pt x="585" y="454"/>
                  <a:pt x="454" y="585"/>
                  <a:pt x="293" y="585"/>
                </a:cubicBezTo>
                <a:lnTo>
                  <a:pt x="293" y="585"/>
                </a:lnTo>
                <a:cubicBezTo>
                  <a:pt x="131" y="585"/>
                  <a:pt x="0" y="454"/>
                  <a:pt x="0" y="292"/>
                </a:cubicBezTo>
                <a:lnTo>
                  <a:pt x="0" y="292"/>
                </a:lnTo>
                <a:cubicBezTo>
                  <a:pt x="0" y="131"/>
                  <a:pt x="131" y="0"/>
                  <a:pt x="293" y="0"/>
                </a:cubicBezTo>
                <a:lnTo>
                  <a:pt x="293" y="0"/>
                </a:lnTo>
                <a:cubicBezTo>
                  <a:pt x="454" y="0"/>
                  <a:pt x="585" y="131"/>
                  <a:pt x="585" y="292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5" name="Freeform 434">
            <a:extLst>
              <a:ext uri="{FF2B5EF4-FFF2-40B4-BE49-F238E27FC236}">
                <a16:creationId xmlns:a16="http://schemas.microsoft.com/office/drawing/2014/main" id="{C1560246-9BF8-5E2E-640F-A069D0436EF9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7441619" y="4191574"/>
            <a:ext cx="154436" cy="154436"/>
          </a:xfrm>
          <a:custGeom>
            <a:avLst/>
            <a:gdLst>
              <a:gd name="T0" fmla="*/ 585 w 586"/>
              <a:gd name="T1" fmla="*/ 292 h 585"/>
              <a:gd name="T2" fmla="*/ 585 w 586"/>
              <a:gd name="T3" fmla="*/ 292 h 585"/>
              <a:gd name="T4" fmla="*/ 292 w 586"/>
              <a:gd name="T5" fmla="*/ 584 h 585"/>
              <a:gd name="T6" fmla="*/ 292 w 586"/>
              <a:gd name="T7" fmla="*/ 584 h 585"/>
              <a:gd name="T8" fmla="*/ 0 w 586"/>
              <a:gd name="T9" fmla="*/ 292 h 585"/>
              <a:gd name="T10" fmla="*/ 0 w 586"/>
              <a:gd name="T11" fmla="*/ 292 h 585"/>
              <a:gd name="T12" fmla="*/ 292 w 586"/>
              <a:gd name="T13" fmla="*/ 0 h 585"/>
              <a:gd name="T14" fmla="*/ 292 w 586"/>
              <a:gd name="T15" fmla="*/ 0 h 585"/>
              <a:gd name="T16" fmla="*/ 585 w 586"/>
              <a:gd name="T17" fmla="*/ 292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86" h="585">
                <a:moveTo>
                  <a:pt x="585" y="292"/>
                </a:moveTo>
                <a:lnTo>
                  <a:pt x="585" y="292"/>
                </a:lnTo>
                <a:cubicBezTo>
                  <a:pt x="585" y="454"/>
                  <a:pt x="454" y="584"/>
                  <a:pt x="292" y="584"/>
                </a:cubicBezTo>
                <a:lnTo>
                  <a:pt x="292" y="584"/>
                </a:lnTo>
                <a:cubicBezTo>
                  <a:pt x="131" y="584"/>
                  <a:pt x="0" y="454"/>
                  <a:pt x="0" y="292"/>
                </a:cubicBezTo>
                <a:lnTo>
                  <a:pt x="0" y="292"/>
                </a:lnTo>
                <a:cubicBezTo>
                  <a:pt x="0" y="131"/>
                  <a:pt x="131" y="0"/>
                  <a:pt x="292" y="0"/>
                </a:cubicBezTo>
                <a:lnTo>
                  <a:pt x="292" y="0"/>
                </a:lnTo>
                <a:cubicBezTo>
                  <a:pt x="454" y="0"/>
                  <a:pt x="585" y="131"/>
                  <a:pt x="585" y="292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5F3EB7CA-9FB9-CBBF-7C62-E11F3F62DE2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11569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trices</a:t>
            </a:r>
          </a:p>
        </p:txBody>
      </p:sp>
    </p:spTree>
    <p:extLst>
      <p:ext uri="{BB962C8B-B14F-4D97-AF65-F5344CB8AC3E}">
        <p14:creationId xmlns:p14="http://schemas.microsoft.com/office/powerpoint/2010/main" val="13789676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56</Words>
  <Application>Microsoft Office PowerPoint</Application>
  <PresentationFormat>宽屏</PresentationFormat>
  <Paragraphs>1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3" baseType="lpstr">
      <vt:lpstr>Lato Light</vt:lpstr>
      <vt:lpstr>LiciumFont 2022 Bold</vt:lpstr>
      <vt:lpstr>Mukta ExtraLight</vt:lpstr>
      <vt:lpstr>Poppins</vt:lpstr>
      <vt:lpstr>等线</vt:lpstr>
      <vt:lpstr>理想品牌字体 2022</vt:lpstr>
      <vt:lpstr>Arial</vt:lpstr>
      <vt:lpstr>Calibr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5T05:58:00Z</dcterms:created>
  <dcterms:modified xsi:type="dcterms:W3CDTF">2025-09-05T05:59:36Z</dcterms:modified>
</cp:coreProperties>
</file>